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8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9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52.xml" ContentType="application/vnd.openxmlformats-officedocument.presentationml.slideLayout+xml"/>
  <Override PartName="/ppt/theme/theme10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1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2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3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4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705" r:id="rId5"/>
    <p:sldMasterId id="2147483739" r:id="rId6"/>
    <p:sldMasterId id="2147483761" r:id="rId7"/>
    <p:sldMasterId id="2147483804" r:id="rId8"/>
    <p:sldMasterId id="2147483834" r:id="rId9"/>
    <p:sldMasterId id="2147483848" r:id="rId10"/>
    <p:sldMasterId id="2147483882" r:id="rId11"/>
    <p:sldMasterId id="2147483912" r:id="rId12"/>
    <p:sldMasterId id="2147483934" r:id="rId13"/>
    <p:sldMasterId id="2147483939" r:id="rId14"/>
    <p:sldMasterId id="2147483952" r:id="rId15"/>
    <p:sldMasterId id="2147483955" r:id="rId16"/>
    <p:sldMasterId id="2147483961" r:id="rId17"/>
  </p:sldMasterIdLst>
  <p:notesMasterIdLst>
    <p:notesMasterId r:id="rId22"/>
  </p:notesMasterIdLst>
  <p:handoutMasterIdLst>
    <p:handoutMasterId r:id="rId23"/>
  </p:handoutMasterIdLst>
  <p:sldIdLst>
    <p:sldId id="972" r:id="rId18"/>
    <p:sldId id="982" r:id="rId19"/>
    <p:sldId id="980" r:id="rId20"/>
    <p:sldId id="976" r:id="rId21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72"/>
            <p14:sldId id="982"/>
            <p14:sldId id="980"/>
            <p14:sldId id="976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26" autoAdjust="0"/>
    <p:restoredTop sz="96325" autoAdjust="0"/>
  </p:normalViewPr>
  <p:slideViewPr>
    <p:cSldViewPr snapToGrid="0" snapToObjects="1">
      <p:cViewPr>
        <p:scale>
          <a:sx n="180" d="100"/>
          <a:sy n="180" d="100"/>
        </p:scale>
        <p:origin x="-72" y="390"/>
      </p:cViewPr>
      <p:guideLst>
        <p:guide orient="horz" pos="216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6/2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6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8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8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8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8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8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8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8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8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8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8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94075"/>
            <a:ext cx="7772400" cy="124182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113" indent="0" algn="ctr">
              <a:buNone/>
              <a:defRPr sz="2000"/>
            </a:lvl2pPr>
            <a:lvl3pPr marL="914229" indent="0" algn="ctr">
              <a:buNone/>
              <a:defRPr sz="1800"/>
            </a:lvl3pPr>
            <a:lvl4pPr marL="1371343" indent="0" algn="ctr">
              <a:buNone/>
              <a:defRPr sz="1600"/>
            </a:lvl4pPr>
            <a:lvl5pPr marL="1828458" indent="0" algn="ctr">
              <a:buNone/>
              <a:defRPr sz="1600"/>
            </a:lvl5pPr>
            <a:lvl6pPr marL="2285572" indent="0" algn="ctr">
              <a:buNone/>
              <a:defRPr sz="1600"/>
            </a:lvl6pPr>
            <a:lvl7pPr marL="2742686" indent="0" algn="ctr">
              <a:buNone/>
              <a:defRPr sz="1600"/>
            </a:lvl7pPr>
            <a:lvl8pPr marL="3199801" indent="0" algn="ctr">
              <a:buNone/>
              <a:defRPr sz="1600"/>
            </a:lvl8pPr>
            <a:lvl9pPr marL="365691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8598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22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6344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3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22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2879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171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678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052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22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716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22/20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99819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983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347274"/>
      </p:ext>
    </p:extLst>
  </p:cSld>
  <p:clrMapOvr>
    <a:masterClrMapping/>
  </p:clrMapOvr>
  <p:hf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187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884" y="564153"/>
            <a:ext cx="8912915" cy="41097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610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22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18-2022 C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876" y="544173"/>
            <a:ext cx="3886200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5051" y="544173"/>
            <a:ext cx="4979505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428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6/22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6/22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/>
              <a:pPr>
                <a:defRPr/>
              </a:pPr>
              <a:t>6/22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6624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901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6/22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am upda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827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76052" y="4767267"/>
            <a:ext cx="460562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fld id="{7FCBD675-CCB5-F148-8953-FBC584431A3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/>
          </p:nvPr>
        </p:nvSpPr>
        <p:spPr>
          <a:xfrm>
            <a:off x="109827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4"/>
          </p:nvPr>
        </p:nvSpPr>
        <p:spPr>
          <a:xfrm>
            <a:off x="4699055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5"/>
          </p:nvPr>
        </p:nvSpPr>
        <p:spPr>
          <a:xfrm>
            <a:off x="4699055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09538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699055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109827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699055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54486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790896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9" y="176154"/>
            <a:ext cx="8794113" cy="22374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2198" y="5016841"/>
            <a:ext cx="4389768" cy="1551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Pre-Decisional – For Discussion Only –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117024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43" tIns="40970" rIns="81943" bIns="4097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1168403" y="4683924"/>
            <a:ext cx="1006475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1239D56-CF2D-48AC-B0A6-E5B6013DB6FB}" type="datetime1">
              <a:rPr lang="en-US"/>
              <a:pPr>
                <a:defRPr/>
              </a:pPr>
              <a:t>6/22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5838" y="4683924"/>
            <a:ext cx="3268662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68971" y="4682736"/>
            <a:ext cx="1139825" cy="26789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/>
            </a:lvl1pPr>
          </a:lstStyle>
          <a:p>
            <a:pPr>
              <a:defRPr/>
            </a:pPr>
            <a:fld id="{7F125421-B14A-4738-9A3F-B335B3B78F9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83933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22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516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38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9718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6/22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5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4" Type="http://schemas.openxmlformats.org/officeDocument/2006/relationships/image" Target="../media/image14.jp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image" Target="../media/image3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6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image" Target="../media/image3.png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6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image" Target="../media/image7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image" Target="../media/image7.jpeg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9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92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image" Target="../media/image7.jpeg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35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884" y="57273"/>
            <a:ext cx="6497707" cy="429193"/>
          </a:xfrm>
          <a:prstGeom prst="rect">
            <a:avLst/>
          </a:prstGeom>
        </p:spPr>
        <p:txBody>
          <a:bodyPr vert="horz" lIns="91422" tIns="45711" rIns="91422" bIns="4571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876" y="564151"/>
            <a:ext cx="7886700" cy="3263504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501465"/>
            <a:ext cx="9144000" cy="342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1500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6861" y="4791117"/>
            <a:ext cx="1507386" cy="31403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" y="4976340"/>
            <a:ext cx="325694" cy="230814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fld id="{DAFD694C-1B1D-44B5-B79E-A4FFB8D14BE0}" type="slidenum">
              <a:rPr lang="en-US" sz="900" b="1" smtClean="0">
                <a:solidFill>
                  <a:schemeClr val="accent5"/>
                </a:solidFill>
              </a:rPr>
              <a:t>‹#›</a:t>
            </a:fld>
            <a:endParaRPr lang="en-US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577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737" r:id="rId5"/>
    <p:sldLayoutId id="2147483843" r:id="rId6"/>
    <p:sldLayoutId id="2147483844" r:id="rId7"/>
  </p:sldLayoutIdLst>
  <p:hf hdr="0" dt="0"/>
  <p:txStyles>
    <p:titleStyle>
      <a:lvl1pPr algn="l" defTabSz="914229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57" indent="-228557" algn="l" defTabSz="91422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71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7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00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15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29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22/20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22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6/22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981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90" r:id="rId25"/>
    <p:sldLayoutId id="2147483803" r:id="rId26"/>
    <p:sldLayoutId id="21474838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6/22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30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6/22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  <p:sldLayoutId id="2147483865" r:id="rId1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10" r:id="rId25"/>
    <p:sldLayoutId id="2147483911" r:id="rId26"/>
    <p:sldLayoutId id="21474839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22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MCB Calendar – Recurring Topic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2856196"/>
              </p:ext>
            </p:extLst>
          </p:nvPr>
        </p:nvGraphicFramePr>
        <p:xfrm>
          <a:off x="625784" y="886473"/>
          <a:ext cx="7858985" cy="3660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01954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Red/Orange line program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Bus service and planning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Safety </a:t>
                      </a:r>
                      <a:endParaRPr lang="en-US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TC update</a:t>
                      </a:r>
                      <a:endParaRPr lang="en-US" sz="1100" dirty="0"/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LEAN Productivity 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Bus Performance Metrics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he RIDE/TNC pilot  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3rd meeting of month) - 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June 25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16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1st meeting of month) - May 7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16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–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June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25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16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 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16</a:t>
                      </a:r>
                      <a:endParaRPr lang="en-US" dirty="0"/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June 11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Sept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May 14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August 1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May 21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August 1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May 7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August 1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Quarterly – June 11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September TBD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16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16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June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25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TBD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Quarterly – May 21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August 13 </a:t>
                      </a:r>
                    </a:p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baseline="0" noProof="0" dirty="0">
                          <a:solidFill>
                            <a:srgbClr val="0C0C0C"/>
                          </a:solidFill>
                          <a:latin typeface="Arial"/>
                          <a:cs typeface="+mn-cs"/>
                        </a:rPr>
                        <a:t>Quarterly –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 June 25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ontinuous, as needed 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648865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5911170"/>
              </p:ext>
            </p:extLst>
          </p:nvPr>
        </p:nvGraphicFramePr>
        <p:xfrm>
          <a:off x="536652" y="1051481"/>
          <a:ext cx="8189790" cy="24885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18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80776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8537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864768">
                  <a:extLst>
                    <a:ext uri="{9D8B030D-6E8A-4147-A177-3AD203B41FA5}">
                      <a16:colId xmlns="" xmlns:a16="http://schemas.microsoft.com/office/drawing/2014/main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Format</a:t>
                      </a:r>
                      <a:endParaRPr lang="en-US" sz="11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9307">
                <a:tc rowSpan="10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ly </a:t>
                      </a: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16 – JOINT </a:t>
                      </a:r>
                      <a:endParaRPr lang="en-US" dirty="0"/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39)</a:t>
                      </a:r>
                      <a:endParaRPr lang="en-US" dirty="0"/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-Year Pro Forma 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latinLnBrk="0" hangingPunct="1">
                        <a:buNone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TC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fet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73500219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uter Rail Vision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da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46863762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uter Rail Performance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da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indent="-127000"/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Commuter Rail Revenue Shar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marR="0" lvl="0" indent="-18288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Red/Orange Line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lvl="0" indent="-182880" algn="l" defTabSz="820334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Bus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Service and Planning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lvl="0" indent="-182880" algn="l" defTabSz="820334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ontracts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s Needed 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1198008"/>
                  </a:ext>
                </a:extLst>
              </a:tr>
              <a:tr h="183248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newal of MBTA Debt Policy and Swap Policy (Joint) </a:t>
                      </a:r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  <a:endParaRPr lang="en-US" sz="1100" b="0" i="0" u="none" strike="noStrike" noProof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and Possible Action ?? 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5402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2153612"/>
              </p:ext>
            </p:extLst>
          </p:nvPr>
        </p:nvGraphicFramePr>
        <p:xfrm>
          <a:off x="665589" y="906107"/>
          <a:ext cx="7780719" cy="2281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4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218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25462">
                  <a:extLst>
                    <a:ext uri="{9D8B030D-6E8A-4147-A177-3AD203B41FA5}">
                      <a16:colId xmlns="" xmlns:a16="http://schemas.microsoft.com/office/drawing/2014/main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9307">
                <a:tc rowSpan="9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August </a:t>
                      </a: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3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(140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Maintenance of  Performance Standards</a:t>
                      </a: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apital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Quarterly Report 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idership 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Quarterly Report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73500219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FC 2.0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Quarterly Repor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740725229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Financial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Quarterly Report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46863762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ommuter Rail Performance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ed/Orange Line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us Service and Planning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3119800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8971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184361524"/>
              </p:ext>
            </p:extLst>
          </p:nvPr>
        </p:nvGraphicFramePr>
        <p:xfrm>
          <a:off x="461963" y="950913"/>
          <a:ext cx="8405653" cy="3536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6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334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07975"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Trespasser Strike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Locomotive Overhaul Programs Updat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Bus Dropped Trip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Uniform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Greenbush Line Servic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Working group update on activities and action pla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ludes: GLX, AFC 2, Bus, Keolis, …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eptember 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To Be Schedul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2176598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MBTA Template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10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46C860BB-CEC2-4323-AF68-6C413613BB7E}" vid="{6C6AA7CE-4E8A-4B1B-B4AB-6716735CB656}"/>
    </a:ext>
  </a:extLst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3" id="{46C860BB-CEC2-4323-AF68-6C413613BB7E}" vid="{6C6AA7CE-4E8A-4B1B-B4AB-6716735CB656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4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1" id="{0B9DD42A-02F8-104D-9910-D1A64A753B29}" vid="{45318140-5A3E-7B4C-A710-E7E511F8275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B8B7B9EC50D84686AAAD4098783FD4" ma:contentTypeVersion="2" ma:contentTypeDescription="Create a new document." ma:contentTypeScope="" ma:versionID="a7a82a68beb88968fb935b4545f4b591">
  <xsd:schema xmlns:xsd="http://www.w3.org/2001/XMLSchema" xmlns:xs="http://www.w3.org/2001/XMLSchema" xmlns:p="http://schemas.microsoft.com/office/2006/metadata/properties" xmlns:ns2="abf27a4b-0855-4696-9a36-93e890b511e0" targetNamespace="http://schemas.microsoft.com/office/2006/metadata/properties" ma:root="true" ma:fieldsID="841d737819eae57712bdd14d7b172a8a" ns2:_="">
    <xsd:import namespace="abf27a4b-0855-4696-9a36-93e890b511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27a4b-0855-4696-9a36-93e890b511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50DC64-09E1-40CC-8A5B-A8C18AA13BA5}"/>
</file>

<file path=customXml/itemProps2.xml><?xml version="1.0" encoding="utf-8"?>
<ds:datastoreItem xmlns:ds="http://schemas.openxmlformats.org/officeDocument/2006/customXml" ds:itemID="{50F1FC64-E47D-4612-8598-863A817D5AF1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elements/1.1/"/>
    <ds:schemaRef ds:uri="fd09a25b-489b-4cad-b002-75f5c8fdb84e"/>
    <ds:schemaRef ds:uri="http://purl.org/dc/terms/"/>
    <ds:schemaRef ds:uri="d7135841-cb9c-4d73-9451-c90cc3f4fb8d"/>
  </ds:schemaRefs>
</ds:datastoreItem>
</file>

<file path=customXml/itemProps3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29724</TotalTime>
  <Words>320</Words>
  <Application>Microsoft Office PowerPoint</Application>
  <PresentationFormat>On-screen Show (16:9)</PresentationFormat>
  <Paragraphs>134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9" baseType="lpstr">
      <vt:lpstr>MBTA Template</vt:lpstr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2_MBTA Black Line - Blue Title Template</vt:lpstr>
      <vt:lpstr>think-cell Slide</vt:lpstr>
      <vt:lpstr>FMCB Calendar – Recurring Topics</vt:lpstr>
      <vt:lpstr>Future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vision highlights - Aeronautics</dc:title>
  <dc:creator>Trey Joseph Wadsworth</dc:creator>
  <cp:lastModifiedBy>DAS</cp:lastModifiedBy>
  <cp:revision>922</cp:revision>
  <cp:lastPrinted>2018-06-22T19:27:01Z</cp:lastPrinted>
  <dcterms:created xsi:type="dcterms:W3CDTF">2016-03-11T16:43:25Z</dcterms:created>
  <dcterms:modified xsi:type="dcterms:W3CDTF">2018-06-22T19:47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B8B7B9EC50D84686AAAD4098783FD4</vt:lpwstr>
  </property>
</Properties>
</file>